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7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1A7B3C-353D-1593-2162-118CD6419F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50C97DFD-821E-66BE-3786-97C8AE8C35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C97DFD-821E-66BE-3786-97C8AE8C35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E9AB51A-79B7-7D52-1A63-DE8F275BE9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30BE4D-7A7C-3D4C-D390-C61D5E030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AB874D8-A7C5-D0F8-5B2C-0DE4B3B0B292}"/>
              </a:ext>
            </a:extLst>
          </p:cNvPr>
          <p:cNvGrpSpPr/>
          <p:nvPr/>
        </p:nvGrpSpPr>
        <p:grpSpPr>
          <a:xfrm>
            <a:off x="3728705" y="1399548"/>
            <a:ext cx="4509063" cy="4512295"/>
            <a:chOff x="3728705" y="1399548"/>
            <a:chExt cx="4509063" cy="4512295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594B103-C4C1-0E56-DF4E-70FEE03A9A3C}"/>
                </a:ext>
              </a:extLst>
            </p:cNvPr>
            <p:cNvSpPr>
              <a:spLocks/>
            </p:cNvSpPr>
            <p:nvPr/>
          </p:nvSpPr>
          <p:spPr>
            <a:xfrm>
              <a:off x="4585801" y="1399548"/>
              <a:ext cx="2813955" cy="1557215"/>
            </a:xfrm>
            <a:custGeom>
              <a:avLst/>
              <a:gdLst>
                <a:gd name="connsiteX0" fmla="*/ 1397436 w 2813955"/>
                <a:gd name="connsiteY0" fmla="*/ 0 h 1557215"/>
                <a:gd name="connsiteX1" fmla="*/ 2657966 w 2813955"/>
                <a:gd name="connsiteY1" fmla="*/ 385315 h 1557215"/>
                <a:gd name="connsiteX2" fmla="*/ 2813955 w 2813955"/>
                <a:gd name="connsiteY2" fmla="*/ 502045 h 1557215"/>
                <a:gd name="connsiteX3" fmla="*/ 1980685 w 2813955"/>
                <a:gd name="connsiteY3" fmla="*/ 1556249 h 1557215"/>
                <a:gd name="connsiteX4" fmla="*/ 1980684 w 2813955"/>
                <a:gd name="connsiteY4" fmla="*/ 1556250 h 1557215"/>
                <a:gd name="connsiteX5" fmla="*/ 1981148 w 2813955"/>
                <a:gd name="connsiteY5" fmla="*/ 1556635 h 1557215"/>
                <a:gd name="connsiteX6" fmla="*/ 1980686 w 2813955"/>
                <a:gd name="connsiteY6" fmla="*/ 1557215 h 1557215"/>
                <a:gd name="connsiteX7" fmla="*/ 1908513 w 2813955"/>
                <a:gd name="connsiteY7" fmla="*/ 1497625 h 1557215"/>
                <a:gd name="connsiteX8" fmla="*/ 1397436 w 2813955"/>
                <a:gd name="connsiteY8" fmla="*/ 1341400 h 1557215"/>
                <a:gd name="connsiteX9" fmla="*/ 886359 w 2813955"/>
                <a:gd name="connsiteY9" fmla="*/ 1497625 h 1557215"/>
                <a:gd name="connsiteX10" fmla="*/ 836586 w 2813955"/>
                <a:gd name="connsiteY10" fmla="*/ 1538721 h 1557215"/>
                <a:gd name="connsiteX11" fmla="*/ 0 w 2813955"/>
                <a:gd name="connsiteY11" fmla="*/ 487765 h 1557215"/>
                <a:gd name="connsiteX12" fmla="*/ 136906 w 2813955"/>
                <a:gd name="connsiteY12" fmla="*/ 385315 h 1557215"/>
                <a:gd name="connsiteX13" fmla="*/ 1397436 w 2813955"/>
                <a:gd name="connsiteY13" fmla="*/ 0 h 1557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13955" h="1557215">
                  <a:moveTo>
                    <a:pt x="1397436" y="0"/>
                  </a:moveTo>
                  <a:cubicBezTo>
                    <a:pt x="1864365" y="0"/>
                    <a:pt x="2298140" y="142047"/>
                    <a:pt x="2657966" y="385315"/>
                  </a:cubicBezTo>
                  <a:lnTo>
                    <a:pt x="2813955" y="502045"/>
                  </a:lnTo>
                  <a:lnTo>
                    <a:pt x="1980685" y="1556249"/>
                  </a:lnTo>
                  <a:lnTo>
                    <a:pt x="1980684" y="1556250"/>
                  </a:lnTo>
                  <a:lnTo>
                    <a:pt x="1981148" y="1556635"/>
                  </a:lnTo>
                  <a:lnTo>
                    <a:pt x="1980686" y="1557215"/>
                  </a:lnTo>
                  <a:lnTo>
                    <a:pt x="1908513" y="1497625"/>
                  </a:lnTo>
                  <a:cubicBezTo>
                    <a:pt x="1762624" y="1398993"/>
                    <a:pt x="1586751" y="1341400"/>
                    <a:pt x="1397436" y="1341400"/>
                  </a:cubicBezTo>
                  <a:cubicBezTo>
                    <a:pt x="1208122" y="1341400"/>
                    <a:pt x="1032249" y="1398993"/>
                    <a:pt x="886359" y="1497625"/>
                  </a:cubicBezTo>
                  <a:lnTo>
                    <a:pt x="836586" y="1538721"/>
                  </a:lnTo>
                  <a:lnTo>
                    <a:pt x="0" y="487765"/>
                  </a:lnTo>
                  <a:lnTo>
                    <a:pt x="136906" y="385315"/>
                  </a:lnTo>
                  <a:cubicBezTo>
                    <a:pt x="496732" y="142047"/>
                    <a:pt x="930508" y="0"/>
                    <a:pt x="139743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8BC6161-AF4B-F06E-CFFC-A416EA547BBD}"/>
                </a:ext>
              </a:extLst>
            </p:cNvPr>
            <p:cNvSpPr>
              <a:spLocks/>
            </p:cNvSpPr>
            <p:nvPr/>
          </p:nvSpPr>
          <p:spPr>
            <a:xfrm>
              <a:off x="6556443" y="1912313"/>
              <a:ext cx="1681325" cy="3502162"/>
            </a:xfrm>
            <a:custGeom>
              <a:avLst/>
              <a:gdLst>
                <a:gd name="connsiteX0" fmla="*/ 857640 w 1681325"/>
                <a:gd name="connsiteY0" fmla="*/ 0 h 3502162"/>
                <a:gd name="connsiteX1" fmla="*/ 860885 w 1681325"/>
                <a:gd name="connsiteY1" fmla="*/ 2429 h 3502162"/>
                <a:gd name="connsiteX2" fmla="*/ 1681325 w 1681325"/>
                <a:gd name="connsiteY2" fmla="*/ 1743382 h 3502162"/>
                <a:gd name="connsiteX3" fmla="*/ 860885 w 1681325"/>
                <a:gd name="connsiteY3" fmla="*/ 3484335 h 3502162"/>
                <a:gd name="connsiteX4" fmla="*/ 837063 w 1681325"/>
                <a:gd name="connsiteY4" fmla="*/ 3502162 h 3502162"/>
                <a:gd name="connsiteX5" fmla="*/ 0 w 1681325"/>
                <a:gd name="connsiteY5" fmla="*/ 2450607 h 3502162"/>
                <a:gd name="connsiteX6" fmla="*/ 73155 w 1681325"/>
                <a:gd name="connsiteY6" fmla="*/ 2390206 h 3502162"/>
                <a:gd name="connsiteX7" fmla="*/ 340886 w 1681325"/>
                <a:gd name="connsiteY7" fmla="*/ 1743382 h 3502162"/>
                <a:gd name="connsiteX8" fmla="*/ 73155 w 1681325"/>
                <a:gd name="connsiteY8" fmla="*/ 1096558 h 3502162"/>
                <a:gd name="connsiteX9" fmla="*/ 22729 w 1681325"/>
                <a:gd name="connsiteY9" fmla="*/ 1054922 h 3502162"/>
                <a:gd name="connsiteX10" fmla="*/ 23155 w 1681325"/>
                <a:gd name="connsiteY10" fmla="*/ 1054388 h 3502162"/>
                <a:gd name="connsiteX11" fmla="*/ 23801 w 1681325"/>
                <a:gd name="connsiteY11" fmla="*/ 1054925 h 3502162"/>
                <a:gd name="connsiteX12" fmla="*/ 23804 w 1681325"/>
                <a:gd name="connsiteY12" fmla="*/ 1054923 h 3502162"/>
                <a:gd name="connsiteX13" fmla="*/ 23802 w 1681325"/>
                <a:gd name="connsiteY13" fmla="*/ 1054923 h 3502162"/>
                <a:gd name="connsiteX14" fmla="*/ 175442 w 1681325"/>
                <a:gd name="connsiteY14" fmla="*/ 863077 h 3502162"/>
                <a:gd name="connsiteX15" fmla="*/ 822619 w 1681325"/>
                <a:gd name="connsiteY15" fmla="*/ 50063 h 3502162"/>
                <a:gd name="connsiteX16" fmla="*/ 822620 w 1681325"/>
                <a:gd name="connsiteY16" fmla="*/ 50061 h 3502162"/>
                <a:gd name="connsiteX17" fmla="*/ 819827 w 1681325"/>
                <a:gd name="connsiteY17" fmla="*/ 47838 h 3502162"/>
                <a:gd name="connsiteX18" fmla="*/ 857640 w 1681325"/>
                <a:gd name="connsiteY18" fmla="*/ 0 h 350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81325" h="3502162">
                  <a:moveTo>
                    <a:pt x="857640" y="0"/>
                  </a:moveTo>
                  <a:lnTo>
                    <a:pt x="860885" y="2429"/>
                  </a:lnTo>
                  <a:cubicBezTo>
                    <a:pt x="1361949" y="416239"/>
                    <a:pt x="1681325" y="1042487"/>
                    <a:pt x="1681325" y="1743382"/>
                  </a:cubicBezTo>
                  <a:cubicBezTo>
                    <a:pt x="1681325" y="2444277"/>
                    <a:pt x="1361949" y="3070525"/>
                    <a:pt x="860885" y="3484335"/>
                  </a:cubicBezTo>
                  <a:lnTo>
                    <a:pt x="837063" y="3502162"/>
                  </a:lnTo>
                  <a:lnTo>
                    <a:pt x="0" y="2450607"/>
                  </a:lnTo>
                  <a:lnTo>
                    <a:pt x="73155" y="2390206"/>
                  </a:lnTo>
                  <a:cubicBezTo>
                    <a:pt x="238573" y="2224670"/>
                    <a:pt x="340886" y="1995983"/>
                    <a:pt x="340886" y="1743382"/>
                  </a:cubicBezTo>
                  <a:cubicBezTo>
                    <a:pt x="340886" y="1490782"/>
                    <a:pt x="238573" y="1262095"/>
                    <a:pt x="73155" y="1096558"/>
                  </a:cubicBezTo>
                  <a:lnTo>
                    <a:pt x="22729" y="1054922"/>
                  </a:lnTo>
                  <a:lnTo>
                    <a:pt x="23155" y="1054388"/>
                  </a:lnTo>
                  <a:lnTo>
                    <a:pt x="23801" y="1054925"/>
                  </a:lnTo>
                  <a:lnTo>
                    <a:pt x="23804" y="1054923"/>
                  </a:lnTo>
                  <a:lnTo>
                    <a:pt x="23802" y="1054923"/>
                  </a:lnTo>
                  <a:lnTo>
                    <a:pt x="175442" y="863077"/>
                  </a:lnTo>
                  <a:lnTo>
                    <a:pt x="822619" y="50063"/>
                  </a:lnTo>
                  <a:lnTo>
                    <a:pt x="822620" y="50061"/>
                  </a:lnTo>
                  <a:lnTo>
                    <a:pt x="819827" y="47838"/>
                  </a:lnTo>
                  <a:lnTo>
                    <a:pt x="85764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3764CB2-1B61-2A1D-0077-97A2D1E7F2FD}"/>
                </a:ext>
              </a:extLst>
            </p:cNvPr>
            <p:cNvSpPr>
              <a:spLocks/>
            </p:cNvSpPr>
            <p:nvPr/>
          </p:nvSpPr>
          <p:spPr>
            <a:xfrm>
              <a:off x="3728705" y="1897170"/>
              <a:ext cx="1703724" cy="3534714"/>
            </a:xfrm>
            <a:custGeom>
              <a:avLst/>
              <a:gdLst>
                <a:gd name="connsiteX0" fmla="*/ 843922 w 1703724"/>
                <a:gd name="connsiteY0" fmla="*/ 0 h 3534714"/>
                <a:gd name="connsiteX1" fmla="*/ 1680997 w 1703724"/>
                <a:gd name="connsiteY1" fmla="*/ 1051571 h 3534714"/>
                <a:gd name="connsiteX2" fmla="*/ 1608170 w 1703724"/>
                <a:gd name="connsiteY2" fmla="*/ 1111701 h 3534714"/>
                <a:gd name="connsiteX3" fmla="*/ 1340439 w 1703724"/>
                <a:gd name="connsiteY3" fmla="*/ 1758525 h 3534714"/>
                <a:gd name="connsiteX4" fmla="*/ 1608170 w 1703724"/>
                <a:gd name="connsiteY4" fmla="*/ 2405349 h 3534714"/>
                <a:gd name="connsiteX5" fmla="*/ 1703724 w 1703724"/>
                <a:gd name="connsiteY5" fmla="*/ 2484245 h 3534714"/>
                <a:gd name="connsiteX6" fmla="*/ 867526 w 1703724"/>
                <a:gd name="connsiteY6" fmla="*/ 3534714 h 3534714"/>
                <a:gd name="connsiteX7" fmla="*/ 820440 w 1703724"/>
                <a:gd name="connsiteY7" fmla="*/ 3499478 h 3534714"/>
                <a:gd name="connsiteX8" fmla="*/ 0 w 1703724"/>
                <a:gd name="connsiteY8" fmla="*/ 1758525 h 3534714"/>
                <a:gd name="connsiteX9" fmla="*/ 820440 w 1703724"/>
                <a:gd name="connsiteY9" fmla="*/ 17572 h 3534714"/>
                <a:gd name="connsiteX10" fmla="*/ 843922 w 1703724"/>
                <a:gd name="connsiteY10" fmla="*/ 0 h 353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03724" h="3534714">
                  <a:moveTo>
                    <a:pt x="843922" y="0"/>
                  </a:moveTo>
                  <a:lnTo>
                    <a:pt x="1680997" y="1051571"/>
                  </a:lnTo>
                  <a:lnTo>
                    <a:pt x="1608170" y="1111701"/>
                  </a:lnTo>
                  <a:cubicBezTo>
                    <a:pt x="1442752" y="1277238"/>
                    <a:pt x="1340439" y="1505925"/>
                    <a:pt x="1340439" y="1758525"/>
                  </a:cubicBezTo>
                  <a:cubicBezTo>
                    <a:pt x="1340439" y="2011126"/>
                    <a:pt x="1442752" y="2239813"/>
                    <a:pt x="1608170" y="2405349"/>
                  </a:cubicBezTo>
                  <a:lnTo>
                    <a:pt x="1703724" y="2484245"/>
                  </a:lnTo>
                  <a:lnTo>
                    <a:pt x="867526" y="3534714"/>
                  </a:lnTo>
                  <a:lnTo>
                    <a:pt x="820440" y="3499478"/>
                  </a:lnTo>
                  <a:cubicBezTo>
                    <a:pt x="319377" y="3085668"/>
                    <a:pt x="0" y="2459420"/>
                    <a:pt x="0" y="1758525"/>
                  </a:cubicBezTo>
                  <a:cubicBezTo>
                    <a:pt x="0" y="1057630"/>
                    <a:pt x="319377" y="431382"/>
                    <a:pt x="820440" y="17572"/>
                  </a:cubicBezTo>
                  <a:lnTo>
                    <a:pt x="843922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0106EAEF-358E-B552-A02A-57B566EEB52F}"/>
                </a:ext>
              </a:extLst>
            </p:cNvPr>
            <p:cNvSpPr>
              <a:spLocks/>
            </p:cNvSpPr>
            <p:nvPr/>
          </p:nvSpPr>
          <p:spPr>
            <a:xfrm>
              <a:off x="4609405" y="4373393"/>
              <a:ext cx="2770927" cy="1538450"/>
            </a:xfrm>
            <a:custGeom>
              <a:avLst/>
              <a:gdLst>
                <a:gd name="connsiteX0" fmla="*/ 1934355 w 2770927"/>
                <a:gd name="connsiteY0" fmla="*/ 0 h 1538450"/>
                <a:gd name="connsiteX1" fmla="*/ 2770927 w 2770927"/>
                <a:gd name="connsiteY1" fmla="*/ 1050940 h 1538450"/>
                <a:gd name="connsiteX2" fmla="*/ 2634362 w 2770927"/>
                <a:gd name="connsiteY2" fmla="*/ 1153135 h 1538450"/>
                <a:gd name="connsiteX3" fmla="*/ 1373832 w 2770927"/>
                <a:gd name="connsiteY3" fmla="*/ 1538450 h 1538450"/>
                <a:gd name="connsiteX4" fmla="*/ 113302 w 2770927"/>
                <a:gd name="connsiteY4" fmla="*/ 1153135 h 1538450"/>
                <a:gd name="connsiteX5" fmla="*/ 0 w 2770927"/>
                <a:gd name="connsiteY5" fmla="*/ 1068349 h 1538450"/>
                <a:gd name="connsiteX6" fmla="*/ 835709 w 2770927"/>
                <a:gd name="connsiteY6" fmla="*/ 18494 h 1538450"/>
                <a:gd name="connsiteX7" fmla="*/ 862755 w 2770927"/>
                <a:gd name="connsiteY7" fmla="*/ 40825 h 1538450"/>
                <a:gd name="connsiteX8" fmla="*/ 1373832 w 2770927"/>
                <a:gd name="connsiteY8" fmla="*/ 197050 h 1538450"/>
                <a:gd name="connsiteX9" fmla="*/ 1884909 w 2770927"/>
                <a:gd name="connsiteY9" fmla="*/ 40825 h 1538450"/>
                <a:gd name="connsiteX10" fmla="*/ 1934355 w 2770927"/>
                <a:gd name="connsiteY10" fmla="*/ 0 h 1538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70927" h="1538450">
                  <a:moveTo>
                    <a:pt x="1934355" y="0"/>
                  </a:moveTo>
                  <a:lnTo>
                    <a:pt x="2770927" y="1050940"/>
                  </a:lnTo>
                  <a:lnTo>
                    <a:pt x="2634362" y="1153135"/>
                  </a:lnTo>
                  <a:cubicBezTo>
                    <a:pt x="2274536" y="1396403"/>
                    <a:pt x="1840761" y="1538450"/>
                    <a:pt x="1373832" y="1538450"/>
                  </a:cubicBezTo>
                  <a:cubicBezTo>
                    <a:pt x="906904" y="1538450"/>
                    <a:pt x="473128" y="1396403"/>
                    <a:pt x="113302" y="1153135"/>
                  </a:cubicBezTo>
                  <a:lnTo>
                    <a:pt x="0" y="1068349"/>
                  </a:lnTo>
                  <a:lnTo>
                    <a:pt x="835709" y="18494"/>
                  </a:lnTo>
                  <a:lnTo>
                    <a:pt x="862755" y="40825"/>
                  </a:lnTo>
                  <a:cubicBezTo>
                    <a:pt x="1008645" y="139458"/>
                    <a:pt x="1184518" y="197050"/>
                    <a:pt x="1373832" y="197050"/>
                  </a:cubicBezTo>
                  <a:cubicBezTo>
                    <a:pt x="1563147" y="197050"/>
                    <a:pt x="1739020" y="139458"/>
                    <a:pt x="1884909" y="40825"/>
                  </a:cubicBezTo>
                  <a:lnTo>
                    <a:pt x="19343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593B7367-FA9E-D393-C2E5-C5D7287A7F45}"/>
              </a:ext>
            </a:extLst>
          </p:cNvPr>
          <p:cNvSpPr/>
          <p:nvPr/>
        </p:nvSpPr>
        <p:spPr>
          <a:xfrm>
            <a:off x="7647047" y="32267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6A893B8-4248-50DD-735C-7E2FDFED7B57}"/>
              </a:ext>
            </a:extLst>
          </p:cNvPr>
          <p:cNvSpPr/>
          <p:nvPr/>
        </p:nvSpPr>
        <p:spPr>
          <a:xfrm>
            <a:off x="3341747" y="32267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4574F23-B045-E398-A460-C6380AA31471}"/>
              </a:ext>
            </a:extLst>
          </p:cNvPr>
          <p:cNvSpPr/>
          <p:nvPr/>
        </p:nvSpPr>
        <p:spPr>
          <a:xfrm>
            <a:off x="5551547" y="10931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62215CA-C8CE-4E04-7A1C-AF630E69AD9A}"/>
              </a:ext>
            </a:extLst>
          </p:cNvPr>
          <p:cNvSpPr/>
          <p:nvPr/>
        </p:nvSpPr>
        <p:spPr>
          <a:xfrm>
            <a:off x="5551547" y="53032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7334915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95</TotalTime>
  <Words>15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80</cp:revision>
  <dcterms:created xsi:type="dcterms:W3CDTF">2021-03-31T02:49:57Z</dcterms:created>
  <dcterms:modified xsi:type="dcterms:W3CDTF">2025-10-15T03:17:08Z</dcterms:modified>
  <cp:category/>
</cp:coreProperties>
</file>